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4"/>
  </p:notesMasterIdLst>
  <p:sldIdLst>
    <p:sldId id="302" r:id="rId2"/>
    <p:sldId id="303" r:id="rId3"/>
  </p:sldIdLst>
  <p:sldSz cx="9144000" cy="5143500" type="screen16x9"/>
  <p:notesSz cx="6985000" cy="9283700"/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DA2BF"/>
    <a:srgbClr val="EF8347"/>
    <a:srgbClr val="E8F0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30" autoAdjust="0"/>
    <p:restoredTop sz="87784" autoAdjust="0"/>
  </p:normalViewPr>
  <p:slideViewPr>
    <p:cSldViewPr snapToGrid="0">
      <p:cViewPr>
        <p:scale>
          <a:sx n="110" d="100"/>
          <a:sy n="110" d="100"/>
        </p:scale>
        <p:origin x="-1608" y="-750"/>
      </p:cViewPr>
      <p:guideLst>
        <p:guide orient="horz" pos="120"/>
        <p:guide orient="horz" pos="959"/>
        <p:guide orient="horz" pos="3031"/>
        <p:guide orient="horz" pos="326"/>
        <p:guide orient="horz" pos="557"/>
        <p:guide orient="horz" pos="755"/>
        <p:guide orient="horz" pos="2917"/>
        <p:guide orient="horz" pos="1620"/>
        <p:guide pos="5528"/>
        <p:guide pos="1207"/>
        <p:guide pos="2248"/>
        <p:guide pos="2880"/>
        <p:guide pos="1323"/>
        <p:guide pos="1265"/>
        <p:guide pos="2363"/>
        <p:guide pos="2306"/>
        <p:guide pos="5644"/>
        <p:guide pos="3570"/>
        <p:guide pos="3454"/>
        <p:guide pos="231"/>
        <p:guide pos="3512"/>
        <p:guide pos="4433"/>
        <p:guide pos="4491"/>
        <p:guide pos="4549"/>
        <p:guide pos="5471"/>
        <p:guide pos="289"/>
        <p:guide pos="11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  <a:extLst/>
          </a:lstStyle>
          <a:p>
            <a:fld id="{A8ADFD5B-A66C-449C-B6E8-FB716D07777D}" type="datetimeFigureOut">
              <a:rPr lang="en-US" smtClean="0"/>
              <a:pPr/>
              <a:t>10/2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>
            <a:extLst/>
          </a:lstStyle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  <a:endParaRPr lang="en-US"/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  <a:extLst/>
          </a:lstStyle>
          <a:p>
            <a:fld id="{CA5D3BF3-D352-46FC-8343-31F56E6730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051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478274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-9144" y="4539996"/>
            <a:ext cx="2249424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4533138"/>
            <a:ext cx="6784848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4537528"/>
            <a:ext cx="6515100" cy="514350"/>
          </a:xfrm>
        </p:spPr>
        <p:txBody>
          <a:bodyPr anchor="ctr"/>
          <a:lstStyle>
            <a:lvl1pPr marL="0" indent="0" algn="l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4551524"/>
            <a:ext cx="2057400" cy="51435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047E157E-8DCB-4F70-A0AF-5EB586A91DD4}" type="datetime1">
              <a:rPr lang="en-US" smtClean="0">
                <a:solidFill>
                  <a:srgbClr val="FFFFFF"/>
                </a:solidFill>
              </a:rPr>
              <a:pPr algn="ctr"/>
              <a:t>10/22/2019</a:t>
            </a:fld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177404"/>
            <a:ext cx="5867400" cy="273844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171450"/>
            <a:ext cx="8382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8F82E0A0-C266-4798-8C8F-B9F91E9DA37E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>
            <a:spLocks noGrp="1"/>
          </p:cNvSpPr>
          <p:nvPr>
            <p:ph type="title"/>
          </p:nvPr>
        </p:nvSpPr>
        <p:spPr>
          <a:xfrm>
            <a:off x="2362200" y="2343150"/>
            <a:ext cx="6477000" cy="2038350"/>
          </a:xfrm>
        </p:spPr>
        <p:txBody>
          <a:bodyPr rtlCol="0" anchor="b"/>
          <a:lstStyle>
            <a:lvl1pPr>
              <a:defRPr cap="all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609600" y="1352550"/>
            <a:ext cx="8153400" cy="32766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057400"/>
            <a:ext cx="7123113" cy="1254919"/>
          </a:xfrm>
        </p:spPr>
        <p:txBody>
          <a:bodyPr anchor="t"/>
          <a:lstStyle>
            <a:lvl1pPr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1143000"/>
            <a:ext cx="9144000" cy="85725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200150"/>
            <a:ext cx="1295400" cy="7429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200150"/>
            <a:ext cx="7772400" cy="7429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0" y="1200150"/>
            <a:ext cx="7620000" cy="74295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CF9F07-3BC7-4570-B054-79111B0A380C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314450"/>
            <a:ext cx="1295400" cy="526257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2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352551"/>
            <a:ext cx="3886200" cy="3268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844901" y="1352549"/>
            <a:ext cx="3886200" cy="3268625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18110"/>
            <a:ext cx="8153400" cy="100584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09600" y="1362287"/>
            <a:ext cx="3886200" cy="530352"/>
          </a:xfrm>
          <a:solidFill>
            <a:schemeClr val="accent2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800600" y="1362287"/>
            <a:ext cx="3886200" cy="530352"/>
          </a:xfrm>
          <a:solidFill>
            <a:schemeClr val="accent4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DFADB5D-B7A0-47E3-AD2D-B1A6F8614213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2968126-03FC-49C0-B9B8-2B561CCC3D90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4686300"/>
            <a:ext cx="5334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</p:spPr>
        <p:txBody>
          <a:bodyPr anchor="b"/>
          <a:lstStyle>
            <a:lvl1pPr algn="l">
              <a:buNone/>
              <a:defRPr sz="42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49A8198-4617-485E-9585-4840B69DBBA6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1600200" cy="3124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362200" y="1428750"/>
            <a:ext cx="6400800" cy="32004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57668" y="0"/>
            <a:ext cx="7586332" cy="3419856"/>
          </a:xfrm>
          <a:solidFill>
            <a:schemeClr val="tx2">
              <a:shade val="50000"/>
            </a:schemeClr>
          </a:solidFill>
          <a:ln>
            <a:noFill/>
          </a:ln>
        </p:spPr>
        <p:txBody>
          <a:bodyPr/>
          <a:lstStyle>
            <a:lvl1pPr>
              <a:buNone/>
              <a:defRPr sz="3200"/>
            </a:lvl1pPr>
            <a:extLst/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4114800"/>
            <a:ext cx="7315200" cy="51435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-9144" y="3429000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-9144" y="3497580"/>
            <a:ext cx="1463040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3490722"/>
            <a:ext cx="7589520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3543300"/>
            <a:ext cx="7315200" cy="4572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447800" y="0"/>
            <a:ext cx="100584" cy="515035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4686300"/>
            <a:ext cx="2667000" cy="273844"/>
          </a:xfrm>
        </p:spPr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3500437"/>
            <a:ext cx="1447800" cy="497684"/>
          </a:xfrm>
        </p:spPr>
        <p:txBody>
          <a:bodyPr rtlCol="0"/>
          <a:lstStyle>
            <a:lvl1pPr>
              <a:defRPr sz="2800"/>
            </a:lvl1pPr>
            <a:extLst/>
          </a:lstStyle>
          <a:p>
            <a:pPr algn="ctr"/>
            <a:fld id="{8F82E0A0-C266-4798-8C8F-B9F91E9DA37E}" type="slidenum">
              <a:rPr lang="en-US" sz="28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28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4686155"/>
            <a:ext cx="4572000" cy="273844"/>
          </a:xfrm>
        </p:spPr>
        <p:txBody>
          <a:bodyPr rtlCol="0"/>
          <a:lstStyle>
            <a:extLst/>
          </a:lstStyle>
          <a:p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352550"/>
            <a:ext cx="8153400" cy="324231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4686300"/>
            <a:ext cx="2667000" cy="273844"/>
          </a:xfrm>
          <a:prstGeom prst="rect">
            <a:avLst/>
          </a:prstGeom>
        </p:spPr>
        <p:txBody>
          <a:bodyPr vert="horz" anchor="ctr" anchorCtr="0"/>
          <a:lstStyle>
            <a:lvl1pPr algn="l">
              <a:defRPr sz="1400">
                <a:solidFill>
                  <a:schemeClr val="tx2"/>
                </a:solidFill>
              </a:defRPr>
            </a:lvl1pPr>
            <a:extLst/>
          </a:lstStyle>
          <a:p>
            <a:fld id="{E4606EA6-EFEA-4C30-9264-4F9291A5780D}" type="datetime1">
              <a:rPr lang="en-US" smtClean="0"/>
              <a:pPr/>
              <a:t>10/22/2019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1" y="4686155"/>
            <a:ext cx="5421083" cy="273844"/>
          </a:xfrm>
          <a:prstGeom prst="rect">
            <a:avLst/>
          </a:prstGeom>
        </p:spPr>
        <p:txBody>
          <a:bodyPr vert="horz" anchor="ctr"/>
          <a:lstStyle>
            <a:lvl1pPr algn="r">
              <a:defRPr sz="1400"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095170"/>
            <a:ext cx="9144000" cy="24003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129460"/>
            <a:ext cx="533400" cy="1714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90550" y="1129460"/>
            <a:ext cx="8553450" cy="1714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123507"/>
            <a:ext cx="533400" cy="18335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>
              <a:defRPr sz="1400" b="1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rtl="0" eaLnBrk="1" latinLnBrk="0" hangingPunct="1">
        <a:spcBef>
          <a:spcPct val="0"/>
        </a:spcBef>
        <a:buNone/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extLst/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image" Target="../media/image2.pn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17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/>
          </p:cNvSpPr>
          <p:nvPr/>
        </p:nvSpPr>
        <p:spPr>
          <a:xfrm>
            <a:off x="458788" y="285751"/>
            <a:ext cx="7383462" cy="3810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Group Exercise – Map Your External Innovation Ecosyste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0" y="285751"/>
            <a:ext cx="458788" cy="381000"/>
          </a:xfrm>
          <a:prstGeom prst="rect">
            <a:avLst/>
          </a:prstGeom>
          <a:solidFill>
            <a:srgbClr val="EF8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458788" y="1318916"/>
            <a:ext cx="3846512" cy="341569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pPr>
              <a:lnSpc>
                <a:spcPct val="120000"/>
              </a:lnSpc>
            </a:pPr>
            <a:endParaRPr lang="en-US" sz="1600" dirty="0">
              <a:solidFill>
                <a:schemeClr val="bg1">
                  <a:lumMod val="65000"/>
                </a:schemeClr>
              </a:solidFill>
              <a:latin typeface="Shree Devanagari 714"/>
              <a:cs typeface="Shree Devanagari 714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825" y="120299"/>
            <a:ext cx="718908" cy="502094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2705208" y="1496516"/>
            <a:ext cx="3686892" cy="2577022"/>
            <a:chOff x="2649138" y="1604370"/>
            <a:chExt cx="3686892" cy="2577022"/>
          </a:xfrm>
        </p:grpSpPr>
        <p:grpSp>
          <p:nvGrpSpPr>
            <p:cNvPr id="21" name="Group 70"/>
            <p:cNvGrpSpPr>
              <a:grpSpLocks/>
            </p:cNvGrpSpPr>
            <p:nvPr/>
          </p:nvGrpSpPr>
          <p:grpSpPr bwMode="auto">
            <a:xfrm>
              <a:off x="2649138" y="1604370"/>
              <a:ext cx="3508698" cy="2577022"/>
              <a:chOff x="1215943" y="991851"/>
              <a:chExt cx="6521565" cy="6193812"/>
            </a:xfrm>
          </p:grpSpPr>
          <p:sp>
            <p:nvSpPr>
              <p:cNvPr id="22" name="Text Box 74"/>
              <p:cNvSpPr txBox="1">
                <a:spLocks noChangeArrowheads="1"/>
              </p:cNvSpPr>
              <p:nvPr/>
            </p:nvSpPr>
            <p:spPr bwMode="auto">
              <a:xfrm>
                <a:off x="4004485" y="6077917"/>
                <a:ext cx="769754" cy="11077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endParaRPr lang="en-US" sz="9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" name="Group 72"/>
              <p:cNvGrpSpPr>
                <a:grpSpLocks/>
              </p:cNvGrpSpPr>
              <p:nvPr/>
            </p:nvGrpSpPr>
            <p:grpSpPr bwMode="auto">
              <a:xfrm>
                <a:off x="1215943" y="991851"/>
                <a:ext cx="6521565" cy="5871690"/>
                <a:chOff x="1066799" y="875739"/>
                <a:chExt cx="6521565" cy="5871690"/>
              </a:xfrm>
            </p:grpSpPr>
            <p:sp>
              <p:nvSpPr>
                <p:cNvPr id="39" name="Line 23"/>
                <p:cNvSpPr>
                  <a:spLocks noChangeShapeType="1"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 rot="-7118309">
                  <a:off x="3536021" y="3626194"/>
                  <a:ext cx="7385" cy="582658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Line 24"/>
                <p:cNvSpPr>
                  <a:spLocks noChangeShapeType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 rot="14481691" flipH="1">
                  <a:off x="3311979" y="3047452"/>
                  <a:ext cx="455468" cy="371277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Rectangle 25"/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 rot="10800000" flipH="1" flipV="1">
                  <a:off x="5083082" y="2682862"/>
                  <a:ext cx="547430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42" name="Rectangle 26"/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 rot="10800000" flipH="1" flipV="1">
                  <a:off x="4026167" y="1965197"/>
                  <a:ext cx="644989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62" name="Line 49"/>
                <p:cNvSpPr>
                  <a:spLocks noChangeShapeType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 rot="14481691" flipV="1">
                  <a:off x="1227517" y="1854721"/>
                  <a:ext cx="2410286" cy="187534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" name="Line 50"/>
                <p:cNvSpPr>
                  <a:spLocks noChangeShapeType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rot="14481691" flipV="1">
                  <a:off x="2707978" y="2822282"/>
                  <a:ext cx="4924" cy="2951236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Line 51"/>
                <p:cNvSpPr>
                  <a:spLocks noChangeShapeType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 rot="-7118309" flipH="1" flipV="1">
                  <a:off x="3149387" y="4363440"/>
                  <a:ext cx="1558438" cy="128456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" name="Line 52"/>
                <p:cNvSpPr>
                  <a:spLocks noChangeShapeType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rot="14481691" flipH="1">
                  <a:off x="4120877" y="4703011"/>
                  <a:ext cx="2471836" cy="44173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Line 53"/>
                <p:cNvSpPr>
                  <a:spLocks noChangeShapeType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rot="-7118309">
                  <a:off x="2567013" y="1803723"/>
                  <a:ext cx="2397975" cy="54200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" name="Line 54"/>
                <p:cNvSpPr>
                  <a:spLocks noChangeShapeType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 rot="14481691">
                  <a:off x="4291855" y="1152221"/>
                  <a:ext cx="1399309" cy="166367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" name="Line 57"/>
                <p:cNvSpPr>
                  <a:spLocks noChangeShapeType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 flipV="1">
                  <a:off x="4915059" y="3478058"/>
                  <a:ext cx="2539310" cy="3446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3" name="Rectangle 60"/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 rot="10800000" flipH="1" flipV="1">
                  <a:off x="3028871" y="4366863"/>
                  <a:ext cx="769654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4" name="Rectangle 61"/>
                <p:cNvSpPr>
                  <a:spLocks noChangeArrowheads="1"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 rot="10800000" flipH="1" flipV="1">
                  <a:off x="2982798" y="2179387"/>
                  <a:ext cx="650410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5" name="Rectangle 62"/>
                <p:cNvSpPr>
                  <a:spLocks noChangeArrowheads="1"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 rot="10800000" flipH="1" flipV="1">
                  <a:off x="2576293" y="3433760"/>
                  <a:ext cx="525749" cy="2953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4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8" name="Text Box 68"/>
                <p:cNvSpPr txBox="1">
                  <a:spLocks noChangeArrowheads="1"/>
                </p:cNvSpPr>
                <p:nvPr/>
              </p:nvSpPr>
              <p:spPr bwMode="auto">
                <a:xfrm>
                  <a:off x="1066799" y="912667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9" name="Text Box 69"/>
                <p:cNvSpPr txBox="1">
                  <a:spLocks noChangeArrowheads="1"/>
                </p:cNvSpPr>
                <p:nvPr/>
              </p:nvSpPr>
              <p:spPr bwMode="auto">
                <a:xfrm>
                  <a:off x="1196881" y="5639683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9" name="Oval 80"/>
                <p:cNvSpPr>
                  <a:spLocks noChangeArrowheads="1"/>
                </p:cNvSpPr>
                <p:nvPr/>
              </p:nvSpPr>
              <p:spPr bwMode="auto">
                <a:xfrm>
                  <a:off x="3408276" y="3039825"/>
                  <a:ext cx="1560983" cy="1063579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algn="ctr"/>
                  <a:r>
                    <a:rPr lang="en-US" b="1" dirty="0" smtClean="0"/>
                    <a:t>Your Co.</a:t>
                  </a:r>
                  <a:endParaRPr lang="en-US" b="1" dirty="0"/>
                </a:p>
              </p:txBody>
            </p:sp>
            <p:sp>
              <p:nvSpPr>
                <p:cNvPr id="94" name="Line 50"/>
                <p:cNvSpPr>
                  <a:spLocks noChangeShapeType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 rot="14481691" flipV="1">
                  <a:off x="6110283" y="902681"/>
                  <a:ext cx="4925" cy="2951237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2" name="TextBox 1"/>
            <p:cNvSpPr txBox="1"/>
            <p:nvPr/>
          </p:nvSpPr>
          <p:spPr>
            <a:xfrm>
              <a:off x="5060142" y="2248399"/>
              <a:ext cx="119705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Universities</a:t>
              </a:r>
              <a:endParaRPr lang="en-US" dirty="0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4222371" y="3147386"/>
              <a:ext cx="10296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Joint Ventures</a:t>
              </a:r>
              <a:endParaRPr lang="en-US" dirty="0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142599" y="3105109"/>
              <a:ext cx="10432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Large Suppliers</a:t>
              </a:r>
              <a:endParaRPr lang="en-US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719239" y="2391950"/>
              <a:ext cx="10202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Small Suppliers</a:t>
              </a:r>
              <a:endParaRPr lang="en-US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166821" y="1703433"/>
              <a:ext cx="86200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Design</a:t>
              </a:r>
            </a:p>
            <a:p>
              <a:r>
                <a:rPr lang="en-US" dirty="0"/>
                <a:t>o</a:t>
              </a:r>
              <a:r>
                <a:rPr lang="en-US" dirty="0" smtClean="0"/>
                <a:t>r Eng.</a:t>
              </a:r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981853" y="1608550"/>
              <a:ext cx="9753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Startups</a:t>
              </a:r>
              <a:endParaRPr lang="en-US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888692" y="1698053"/>
              <a:ext cx="10414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Inventors</a:t>
              </a:r>
              <a:endParaRPr lang="en-US" dirty="0"/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4978362" y="2763280"/>
              <a:ext cx="135766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Government Agencies</a:t>
              </a:r>
              <a:endParaRPr lang="en-US" dirty="0"/>
            </a:p>
          </p:txBody>
        </p:sp>
      </p:grpSp>
      <p:sp>
        <p:nvSpPr>
          <p:cNvPr id="96" name="TextBox 95"/>
          <p:cNvSpPr txBox="1"/>
          <p:nvPr/>
        </p:nvSpPr>
        <p:spPr>
          <a:xfrm>
            <a:off x="6957243" y="4630182"/>
            <a:ext cx="2002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lorox Confidential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97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/>
          </p:cNvSpPr>
          <p:nvPr/>
        </p:nvSpPr>
        <p:spPr>
          <a:xfrm>
            <a:off x="458788" y="285751"/>
            <a:ext cx="7383462" cy="3810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Shree Devanagari 714"/>
              </a:rPr>
              <a:t>Group Exercise – 100 pennies exercise</a:t>
            </a:r>
          </a:p>
        </p:txBody>
      </p:sp>
      <p:sp>
        <p:nvSpPr>
          <p:cNvPr id="35" name="Rectangle 34"/>
          <p:cNvSpPr/>
          <p:nvPr/>
        </p:nvSpPr>
        <p:spPr>
          <a:xfrm>
            <a:off x="0" y="285751"/>
            <a:ext cx="458788" cy="381000"/>
          </a:xfrm>
          <a:prstGeom prst="rect">
            <a:avLst/>
          </a:prstGeom>
          <a:solidFill>
            <a:srgbClr val="EF8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458788" y="1318916"/>
            <a:ext cx="3846512" cy="341569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pPr>
              <a:lnSpc>
                <a:spcPct val="120000"/>
              </a:lnSpc>
            </a:pPr>
            <a:endParaRPr lang="en-US" sz="1600" dirty="0">
              <a:solidFill>
                <a:schemeClr val="bg1">
                  <a:lumMod val="65000"/>
                </a:schemeClr>
              </a:solidFill>
              <a:latin typeface="Shree Devanagari 714"/>
              <a:cs typeface="Shree Devanagari 714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825" y="120299"/>
            <a:ext cx="718908" cy="502094"/>
          </a:xfrm>
          <a:prstGeom prst="rect">
            <a:avLst/>
          </a:prstGeom>
        </p:spPr>
      </p:pic>
      <p:sp>
        <p:nvSpPr>
          <p:cNvPr id="96" name="TextBox 95"/>
          <p:cNvSpPr txBox="1"/>
          <p:nvPr/>
        </p:nvSpPr>
        <p:spPr>
          <a:xfrm>
            <a:off x="6957243" y="4630182"/>
            <a:ext cx="2002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lorox Confidential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22980" y="1166546"/>
            <a:ext cx="4520479" cy="3592651"/>
            <a:chOff x="2705208" y="1496516"/>
            <a:chExt cx="3508698" cy="2577022"/>
          </a:xfrm>
        </p:grpSpPr>
        <p:grpSp>
          <p:nvGrpSpPr>
            <p:cNvPr id="21" name="Group 70"/>
            <p:cNvGrpSpPr>
              <a:grpSpLocks/>
            </p:cNvGrpSpPr>
            <p:nvPr/>
          </p:nvGrpSpPr>
          <p:grpSpPr bwMode="auto">
            <a:xfrm>
              <a:off x="2705208" y="1496516"/>
              <a:ext cx="3508698" cy="2577022"/>
              <a:chOff x="1215943" y="991851"/>
              <a:chExt cx="6521565" cy="6193812"/>
            </a:xfrm>
          </p:grpSpPr>
          <p:sp>
            <p:nvSpPr>
              <p:cNvPr id="22" name="Text Box 74"/>
              <p:cNvSpPr txBox="1">
                <a:spLocks noChangeArrowheads="1"/>
              </p:cNvSpPr>
              <p:nvPr/>
            </p:nvSpPr>
            <p:spPr bwMode="auto">
              <a:xfrm>
                <a:off x="4004485" y="6077917"/>
                <a:ext cx="769754" cy="11077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endParaRPr lang="en-US" sz="9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" name="Group 72"/>
              <p:cNvGrpSpPr>
                <a:grpSpLocks/>
              </p:cNvGrpSpPr>
              <p:nvPr/>
            </p:nvGrpSpPr>
            <p:grpSpPr bwMode="auto">
              <a:xfrm>
                <a:off x="1215943" y="991851"/>
                <a:ext cx="6521565" cy="5871690"/>
                <a:chOff x="1066799" y="875739"/>
                <a:chExt cx="6521565" cy="5871690"/>
              </a:xfrm>
            </p:grpSpPr>
            <p:sp>
              <p:nvSpPr>
                <p:cNvPr id="39" name="Line 23"/>
                <p:cNvSpPr>
                  <a:spLocks noChangeShapeType="1"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 rot="-7118309">
                  <a:off x="3536021" y="3626194"/>
                  <a:ext cx="7385" cy="582658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Line 24"/>
                <p:cNvSpPr>
                  <a:spLocks noChangeShapeType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 rot="14481691" flipH="1">
                  <a:off x="3311979" y="3047452"/>
                  <a:ext cx="455468" cy="371277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Rectangle 25"/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 rot="10800000" flipH="1" flipV="1">
                  <a:off x="5083082" y="2682862"/>
                  <a:ext cx="547430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42" name="Rectangle 26"/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 rot="10800000" flipH="1" flipV="1">
                  <a:off x="4026167" y="1965197"/>
                  <a:ext cx="644989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376092"/>
                    </a:solidFill>
                  </a:endParaRPr>
                </a:p>
              </p:txBody>
            </p:sp>
            <p:sp>
              <p:nvSpPr>
                <p:cNvPr id="62" name="Line 49"/>
                <p:cNvSpPr>
                  <a:spLocks noChangeShapeType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 rot="14481691" flipV="1">
                  <a:off x="1227517" y="1854721"/>
                  <a:ext cx="2410286" cy="187534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" name="Line 50"/>
                <p:cNvSpPr>
                  <a:spLocks noChangeShapeType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rot="14481691" flipV="1">
                  <a:off x="2707978" y="2822282"/>
                  <a:ext cx="4924" cy="2951236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Line 51"/>
                <p:cNvSpPr>
                  <a:spLocks noChangeShapeType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 rot="-7118309" flipH="1" flipV="1">
                  <a:off x="3149387" y="4363440"/>
                  <a:ext cx="1558438" cy="128456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" name="Line 52"/>
                <p:cNvSpPr>
                  <a:spLocks noChangeShapeType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rot="14481691" flipH="1">
                  <a:off x="4120877" y="4703011"/>
                  <a:ext cx="2471836" cy="441739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Line 53"/>
                <p:cNvSpPr>
                  <a:spLocks noChangeShapeType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rot="-7118309">
                  <a:off x="2567013" y="1803723"/>
                  <a:ext cx="2397975" cy="54200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" name="Line 54"/>
                <p:cNvSpPr>
                  <a:spLocks noChangeShapeType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 rot="14481691">
                  <a:off x="4291855" y="1152221"/>
                  <a:ext cx="1399309" cy="166367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" name="Line 57"/>
                <p:cNvSpPr>
                  <a:spLocks noChangeShapeType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 flipV="1">
                  <a:off x="4915059" y="3478058"/>
                  <a:ext cx="2539310" cy="3446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3" name="Rectangle 60"/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 rot="10800000" flipH="1" flipV="1">
                  <a:off x="3028871" y="4366863"/>
                  <a:ext cx="769654" cy="3692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5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4" name="Rectangle 61"/>
                <p:cNvSpPr>
                  <a:spLocks noChangeArrowheads="1"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 rot="10800000" flipH="1" flipV="1">
                  <a:off x="2982798" y="2179387"/>
                  <a:ext cx="650410" cy="4430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5" name="Rectangle 62"/>
                <p:cNvSpPr>
                  <a:spLocks noChangeArrowheads="1"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 rot="10800000" flipH="1" flipV="1">
                  <a:off x="2576293" y="3433760"/>
                  <a:ext cx="525749" cy="2953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28588" indent="-128588" algn="ctr">
                    <a:spcBef>
                      <a:spcPct val="10000"/>
                    </a:spcBef>
                    <a:buFontTx/>
                    <a:buChar char="•"/>
                  </a:pPr>
                  <a:endParaRPr lang="en-US" sz="4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8" name="Text Box 68"/>
                <p:cNvSpPr txBox="1">
                  <a:spLocks noChangeArrowheads="1"/>
                </p:cNvSpPr>
                <p:nvPr/>
              </p:nvSpPr>
              <p:spPr bwMode="auto">
                <a:xfrm>
                  <a:off x="1066799" y="912667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9" name="Text Box 69"/>
                <p:cNvSpPr txBox="1">
                  <a:spLocks noChangeArrowheads="1"/>
                </p:cNvSpPr>
                <p:nvPr/>
              </p:nvSpPr>
              <p:spPr bwMode="auto">
                <a:xfrm>
                  <a:off x="1196881" y="5639683"/>
                  <a:ext cx="769754" cy="11077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="1">
                      <a:solidFill>
                        <a:schemeClr val="tx1"/>
                      </a:solidFill>
                      <a:latin typeface="Times New Roman" pitchFamily="18" charset="0"/>
                    </a:defRPr>
                  </a:lvl9pPr>
                </a:lstStyle>
                <a:p>
                  <a:endParaRPr lang="en-US" sz="9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9" name="Oval 80"/>
                <p:cNvSpPr>
                  <a:spLocks noChangeArrowheads="1"/>
                </p:cNvSpPr>
                <p:nvPr/>
              </p:nvSpPr>
              <p:spPr bwMode="auto">
                <a:xfrm>
                  <a:off x="3408276" y="3039825"/>
                  <a:ext cx="1560983" cy="1063579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algn="ctr"/>
                  <a:r>
                    <a:rPr lang="en-US" b="1" dirty="0" smtClean="0"/>
                    <a:t>Your Co.</a:t>
                  </a:r>
                  <a:endParaRPr lang="en-US" b="1" dirty="0"/>
                </a:p>
              </p:txBody>
            </p:sp>
            <p:sp>
              <p:nvSpPr>
                <p:cNvPr id="94" name="Line 50"/>
                <p:cNvSpPr>
                  <a:spLocks noChangeShapeType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 rot="14481691" flipV="1">
                  <a:off x="6110283" y="902681"/>
                  <a:ext cx="4925" cy="2951237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3" name="TextBox 2"/>
            <p:cNvSpPr txBox="1"/>
            <p:nvPr/>
          </p:nvSpPr>
          <p:spPr>
            <a:xfrm>
              <a:off x="4412554" y="3135754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7</a:t>
              </a:r>
              <a:endParaRPr lang="en-US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080232" y="2461043"/>
              <a:ext cx="501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33</a:t>
              </a:r>
              <a:endParaRPr lang="en-US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506398" y="1788107"/>
              <a:ext cx="4358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7</a:t>
              </a:r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234759" y="1555608"/>
              <a:ext cx="5011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2</a:t>
              </a:r>
              <a:endParaRPr lang="en-US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638827" y="2996136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7</a:t>
              </a:r>
              <a:endParaRPr lang="en-US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197856" y="2783012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</a:t>
              </a:r>
              <a:endParaRPr lang="en-US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599059" y="2072818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2</a:t>
              </a:r>
              <a:endParaRPr lang="en-US" dirty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014432" y="1703486"/>
              <a:ext cx="4442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1</a:t>
              </a:r>
              <a:endParaRPr lang="en-US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843459" y="1079069"/>
            <a:ext cx="36363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3 Key Questions:</a:t>
            </a:r>
          </a:p>
          <a:p>
            <a:pPr marL="342900" indent="-342900">
              <a:buAutoNum type="arabicParenBoth"/>
            </a:pPr>
            <a:r>
              <a:rPr lang="en-US" dirty="0" smtClean="0"/>
              <a:t>Where are you investing?</a:t>
            </a:r>
          </a:p>
          <a:p>
            <a:pPr marL="342900" indent="-342900">
              <a:buAutoNum type="arabicParenBoth"/>
            </a:pPr>
            <a:r>
              <a:rPr lang="en-US" dirty="0" smtClean="0"/>
              <a:t>Where is innovation coming from?</a:t>
            </a:r>
          </a:p>
          <a:p>
            <a:pPr marL="342900" indent="-342900">
              <a:buAutoNum type="arabicParenBoth"/>
            </a:pPr>
            <a:r>
              <a:rPr lang="en-US" dirty="0" smtClean="0"/>
              <a:t>What will you do differently?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43459" y="2874786"/>
            <a:ext cx="3562709" cy="12003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onday Morning Action Items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 </a:t>
            </a: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 </a:t>
            </a: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36881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.JARjCmEG0aQnTqQ8U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.Bi8MnZke2lCz7.ki8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K5r7iu6E.PJvhqxErv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ZaenG_7kCTiwNayjeh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Ulnl4JE0WOY_xjyxHz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90NfaK.0WAILRYt6.x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.JARjCmEG0aQnTqQ8U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RsKg2MY0295hobublX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XDVZ5Je0ectiVv8nWu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2DibrIZU6AGYHKX6d1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RsKg2MY0295hobublX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8FEPX3qU.kA9QDQGYT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IG6JsO6UGXPvyPe7yp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ZBnTHYUyphcLYn7Kn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ir7ajsM0KUpWb9oj1O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.Bi8MnZke2lCz7.ki8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K5r7iu6E.PJvhqxErv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ZaenG_7kCTiwNayjeh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Ulnl4JE0WOY_xjyxHz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90NfaK.0WAILRYt6.x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XDVZ5Je0ectiVv8nWu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2DibrIZU6AGYHKX6d1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8FEPX3qU.kA9QDQGYT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SkGpQPkakon0BiEQB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IG6JsO6UGXPvyPe7yp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ZBnTHYUyphcLYn7Kn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ir7ajsM0KUpWb9oj1Oq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idescreen Presentation">
  <a:themeElements>
    <a:clrScheme name="Custom 1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A3171E"/>
      </a:accent1>
      <a:accent2>
        <a:srgbClr val="1896C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5000"/>
                <a:satMod val="150000"/>
              </a:schemeClr>
            </a:gs>
            <a:gs pos="35000">
              <a:schemeClr val="phClr">
                <a:shade val="60000"/>
                <a:satMod val="150000"/>
              </a:schemeClr>
            </a:gs>
            <a:gs pos="100000">
              <a:schemeClr val="phClr">
                <a:tint val="97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0</TotalTime>
  <Words>78</Words>
  <Application>Microsoft Office PowerPoint</Application>
  <PresentationFormat>On-screen Show (16:9)</PresentationFormat>
  <Paragraphs>33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Widescreen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2-13T22:13:07Z</dcterms:created>
  <dcterms:modified xsi:type="dcterms:W3CDTF">2019-10-22T16:0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LCID">
    <vt:i4>1033</vt:i4>
  </property>
  <property fmtid="{D5CDD505-2E9C-101B-9397-08002B2CF9AE}" pid="3" name="_Version">
    <vt:lpwstr>12.0.4518</vt:lpwstr>
  </property>
</Properties>
</file>